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56" r:id="rId3"/>
    <p:sldId id="261" r:id="rId4"/>
    <p:sldId id="259" r:id="rId5"/>
    <p:sldId id="258" r:id="rId6"/>
    <p:sldId id="260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3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38" y="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BC06F-0973-4F7F-82E1-915A86830E58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213ECC-E1A2-4ED7-B09C-016AAA57A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7932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1178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41752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5399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339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4429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0803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5021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0148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42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301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58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8412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3E3ED-51F1-4538-9D7A-687E60FBFC30}" type="datetimeFigureOut">
              <a:rPr lang="ru-RU" smtClean="0"/>
              <a:t>10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D94EF3-E54F-4436-9248-D817C9B86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543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1850106"/>
            <a:ext cx="10216392" cy="1578894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ДЕКА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b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АТЛАСЫ И КОНТУРНЫЕ КАРТЫ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223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2313542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ЛИНИЯ УМК «Всеобщая история. </a:t>
            </a:r>
            <a:r>
              <a:rPr lang="ru-RU" dirty="0" err="1" smtClean="0"/>
              <a:t>Вигасин</a:t>
            </a:r>
            <a:r>
              <a:rPr lang="ru-RU" dirty="0" smtClean="0"/>
              <a:t> А.А. (5-9)»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457615" y="852944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Атласы и контурные карты</a:t>
            </a:r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2" y="2348627"/>
            <a:ext cx="2192622" cy="3100288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213" y="2348627"/>
            <a:ext cx="2192621" cy="310028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57615" y="5624055"/>
            <a:ext cx="1537440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5-1157-01</a:t>
            </a:r>
          </a:p>
          <a:p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60*90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4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15859" y="5624055"/>
            <a:ext cx="1537440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5-1158-01</a:t>
            </a:r>
          </a:p>
          <a:p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60*90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4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837324" y="3934466"/>
            <a:ext cx="4175760" cy="66172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Новое время. Контурные карты. 9 класс</a:t>
            </a:r>
          </a:p>
          <a:p>
            <a:r>
              <a:rPr lang="ru-RU" sz="12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ороп</a:t>
            </a:r>
            <a:r>
              <a:rPr lang="ru-RU" sz="12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. В.	</a:t>
            </a: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825965" y="2382406"/>
            <a:ext cx="57115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ОВРЕМЕННЫЕ УЧЕБНЫЕ ИЛЛЮСТРИРОВАННЫЕ КАРТОГРАФИЧЕСКИЕ ИЗДАНИЯ </a:t>
            </a:r>
            <a:br>
              <a:rPr lang="ru-RU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endParaRPr lang="ru-RU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837324" y="3332967"/>
            <a:ext cx="6096000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сеобща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ового времени. Атлас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ласс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2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втор-сост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азарева А. 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.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	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51" y="2233416"/>
            <a:ext cx="2144641" cy="2144641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057" y="2236903"/>
            <a:ext cx="2144641" cy="214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4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462" y="1523681"/>
            <a:ext cx="1363859" cy="192844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079" y="4775910"/>
            <a:ext cx="1373340" cy="1941853"/>
          </a:xfrm>
          <a:prstGeom prst="rect">
            <a:avLst/>
          </a:prstGeom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ЛИНИЯ УМК «Всеобщая история. </a:t>
            </a:r>
            <a:r>
              <a:rPr lang="ru-RU" dirty="0" err="1" smtClean="0"/>
              <a:t>Вигасин</a:t>
            </a:r>
            <a:r>
              <a:rPr lang="ru-RU" dirty="0" smtClean="0"/>
              <a:t> А.А. (5-9)»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5191423" y="4511279"/>
            <a:ext cx="658913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Цветные контурные карты выполнены в технике объёмного изображения рельефа. </a:t>
            </a:r>
            <a:endParaRPr lang="ru-RU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400" dirty="0">
                <a:solidFill>
                  <a:prstClr val="black"/>
                </a:solidFill>
              </a:rPr>
              <a:t>Система </a:t>
            </a:r>
            <a:r>
              <a:rPr lang="ru-RU" sz="1400" dirty="0">
                <a:solidFill>
                  <a:prstClr val="black"/>
                </a:solidFill>
              </a:rPr>
              <a:t>заданий разных типов и уровней </a:t>
            </a:r>
            <a:r>
              <a:rPr lang="ru-RU" sz="1400" dirty="0">
                <a:solidFill>
                  <a:prstClr val="black"/>
                </a:solidFill>
              </a:rPr>
              <a:t>сложности ориентирована на: </a:t>
            </a: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закрепление </a:t>
            </a:r>
            <a:r>
              <a:rPr lang="ru-RU" sz="1400" dirty="0">
                <a:solidFill>
                  <a:prstClr val="black"/>
                </a:solidFill>
              </a:rPr>
              <a:t>основных исторических </a:t>
            </a:r>
            <a:r>
              <a:rPr lang="ru-RU" sz="1400" dirty="0" smtClean="0">
                <a:solidFill>
                  <a:prstClr val="black"/>
                </a:solidFill>
              </a:rPr>
              <a:t>знаний; </a:t>
            </a:r>
            <a:endParaRPr lang="ru-RU" sz="1400" dirty="0">
              <a:solidFill>
                <a:prstClr val="black"/>
              </a:solidFill>
            </a:endParaRP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формирование </a:t>
            </a:r>
            <a:r>
              <a:rPr lang="ru-RU" sz="1400" dirty="0">
                <a:solidFill>
                  <a:prstClr val="black"/>
                </a:solidFill>
              </a:rPr>
              <a:t>базовых </a:t>
            </a:r>
            <a:r>
              <a:rPr lang="ru-RU" sz="1400" dirty="0" smtClean="0">
                <a:solidFill>
                  <a:prstClr val="black"/>
                </a:solidFill>
              </a:rPr>
              <a:t>навыков</a:t>
            </a:r>
            <a:r>
              <a:rPr lang="ru-RU" sz="1400" dirty="0">
                <a:solidFill>
                  <a:prstClr val="black"/>
                </a:solidFill>
              </a:rPr>
              <a:t>;</a:t>
            </a:r>
          </a:p>
          <a:p>
            <a:pPr marL="742950" lvl="1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развитие </a:t>
            </a:r>
            <a:r>
              <a:rPr lang="ru-RU" sz="1400" dirty="0">
                <a:solidFill>
                  <a:prstClr val="black"/>
                </a:solidFill>
              </a:rPr>
              <a:t>аналитических и творческих способностей школьников</a:t>
            </a:r>
            <a:r>
              <a:rPr lang="ru-RU" sz="1400" dirty="0">
                <a:solidFill>
                  <a:prstClr val="black"/>
                </a:solidFill>
              </a:rPr>
              <a:t>.</a:t>
            </a:r>
            <a:endParaRPr lang="ru-RU" sz="1400" dirty="0">
              <a:solidFill>
                <a:prstClr val="black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278" y="2173965"/>
            <a:ext cx="1352796" cy="191886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5221670" y="1591289"/>
            <a:ext cx="6008002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матический </a:t>
            </a:r>
            <a:r>
              <a:rPr lang="ru-RU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ворот </a:t>
            </a:r>
            <a:r>
              <a:rPr lang="ru-RU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тласа:</a:t>
            </a:r>
            <a:endParaRPr lang="ru-RU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</a:t>
            </a:r>
            <a:r>
              <a:rPr lang="ru-RU" sz="1400" dirty="0" smtClean="0">
                <a:solidFill>
                  <a:prstClr val="black"/>
                </a:solidFill>
              </a:rPr>
              <a:t>одержит </a:t>
            </a:r>
            <a:r>
              <a:rPr lang="ru-RU" sz="1400" dirty="0">
                <a:solidFill>
                  <a:prstClr val="black"/>
                </a:solidFill>
              </a:rPr>
              <a:t>комплекс взаимосвязанных информационно-методических </a:t>
            </a:r>
            <a:r>
              <a:rPr lang="ru-RU" sz="1400" dirty="0" smtClean="0">
                <a:solidFill>
                  <a:prstClr val="black"/>
                </a:solidFill>
              </a:rPr>
              <a:t>материалов: основные </a:t>
            </a:r>
            <a:r>
              <a:rPr lang="ru-RU" sz="1400" dirty="0">
                <a:solidFill>
                  <a:prstClr val="black"/>
                </a:solidFill>
              </a:rPr>
              <a:t>и дополнительные карты, объёмные схемы, иллюстрации и </a:t>
            </a:r>
            <a:r>
              <a:rPr lang="ru-RU" sz="1400" dirty="0" smtClean="0">
                <a:solidFill>
                  <a:prstClr val="black"/>
                </a:solidFill>
              </a:rPr>
              <a:t>др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Содержит </a:t>
            </a:r>
            <a:r>
              <a:rPr lang="ru-RU" sz="1400" dirty="0">
                <a:solidFill>
                  <a:prstClr val="black"/>
                </a:solidFill>
              </a:rPr>
              <a:t>важную и интересную информацию, которая непосредственно связана с картами и </a:t>
            </a:r>
            <a:r>
              <a:rPr lang="ru-RU" sz="1400" dirty="0" smtClean="0">
                <a:solidFill>
                  <a:prstClr val="black"/>
                </a:solidFill>
              </a:rPr>
              <a:t>схемами.</a:t>
            </a:r>
            <a:endParaRPr lang="ru-RU" sz="1400" dirty="0" smtClean="0">
              <a:solidFill>
                <a:prstClr val="black"/>
              </a:solidFill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рганично дополняет </a:t>
            </a:r>
            <a:r>
              <a:rPr lang="ru-RU" sz="1400" dirty="0">
                <a:solidFill>
                  <a:prstClr val="black"/>
                </a:solidFill>
              </a:rPr>
              <a:t>материал </a:t>
            </a:r>
            <a:r>
              <a:rPr lang="ru-RU" sz="1400" dirty="0" smtClean="0">
                <a:solidFill>
                  <a:prstClr val="black"/>
                </a:solidFill>
              </a:rPr>
              <a:t>учебника</a:t>
            </a:r>
            <a:r>
              <a:rPr lang="ru-RU" sz="1400" dirty="0">
                <a:solidFill>
                  <a:prstClr val="black"/>
                </a:solidFill>
              </a:rPr>
              <a:t>.</a:t>
            </a:r>
            <a:endParaRPr lang="ru-RU" sz="1400" dirty="0" smtClean="0">
              <a:solidFill>
                <a:prstClr val="black"/>
              </a:solidFill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Помогает </a:t>
            </a:r>
            <a:r>
              <a:rPr lang="ru-RU" sz="1400" dirty="0">
                <a:solidFill>
                  <a:prstClr val="black"/>
                </a:solidFill>
              </a:rPr>
              <a:t>учителю в объяснении исторических событий, а ученику — глубже и полнее усвоить материал. </a:t>
            </a:r>
            <a:endParaRPr lang="ru-RU" sz="1400" dirty="0" smtClean="0">
              <a:solidFill>
                <a:prstClr val="black"/>
              </a:solidFill>
            </a:endParaRPr>
          </a:p>
          <a:p>
            <a:pPr algn="just"/>
            <a:r>
              <a:rPr lang="ru-RU" sz="1400" dirty="0" smtClean="0">
                <a:solidFill>
                  <a:prstClr val="black"/>
                </a:solidFill>
              </a:rPr>
              <a:t>Атлас </a:t>
            </a:r>
            <a:r>
              <a:rPr lang="ru-RU" sz="1400" dirty="0">
                <a:solidFill>
                  <a:prstClr val="black"/>
                </a:solidFill>
              </a:rPr>
              <a:t>подходит к любому из учебников по </a:t>
            </a:r>
            <a:r>
              <a:rPr lang="ru-RU" sz="1400" dirty="0" smtClean="0">
                <a:solidFill>
                  <a:prstClr val="black"/>
                </a:solidFill>
              </a:rPr>
              <a:t>всеобщей </a:t>
            </a:r>
            <a:r>
              <a:rPr lang="ru-RU" sz="1400" dirty="0" smtClean="0">
                <a:solidFill>
                  <a:prstClr val="black"/>
                </a:solidFill>
              </a:rPr>
              <a:t>истории.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7615" y="852944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Атласы и контурные карты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16" y="1472955"/>
            <a:ext cx="1373183" cy="1954708"/>
          </a:xfrm>
          <a:prstGeom prst="rect">
            <a:avLst/>
          </a:prstGeom>
        </p:spPr>
      </p:pic>
      <p:pic>
        <p:nvPicPr>
          <p:cNvPr id="19" name="Picture 2" descr="Изображение Всеобщая история. История Нового времени. Атлас. 7 клас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4442" y="2210080"/>
            <a:ext cx="1343335" cy="191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5655" y="1490879"/>
            <a:ext cx="1345742" cy="1918860"/>
          </a:xfrm>
          <a:prstGeom prst="rect">
            <a:avLst/>
          </a:prstGeom>
        </p:spPr>
      </p:pic>
      <p:pic>
        <p:nvPicPr>
          <p:cNvPr id="3076" name="Picture 4" descr="Изображение Всеобщая история. История Нового времени.  Контурные карты. 8 класс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657" y="4602652"/>
            <a:ext cx="1355214" cy="1916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Изображение Всеобщая история. История Нового времени. Контурные карты. 7 класс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780" y="4775910"/>
            <a:ext cx="1353826" cy="193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50" y="4576912"/>
            <a:ext cx="1349588" cy="194185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516" y="4775911"/>
            <a:ext cx="1353826" cy="193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756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ЛИНИЯ УМК «Всеобщая история. </a:t>
            </a:r>
            <a:r>
              <a:rPr lang="ru-RU" dirty="0" err="1" smtClean="0"/>
              <a:t>Вигасин</a:t>
            </a:r>
            <a:r>
              <a:rPr lang="ru-RU" dirty="0" smtClean="0"/>
              <a:t> А.А. (5-9)»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42677" t="19503" r="30446" b="11365"/>
          <a:stretch/>
        </p:blipFill>
        <p:spPr>
          <a:xfrm>
            <a:off x="2269374" y="1562484"/>
            <a:ext cx="3504893" cy="507076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42431" t="19638" r="30418" b="11244"/>
          <a:stretch/>
        </p:blipFill>
        <p:spPr>
          <a:xfrm>
            <a:off x="5757333" y="1574403"/>
            <a:ext cx="3532868" cy="5058845"/>
          </a:xfrm>
          <a:prstGeom prst="rect">
            <a:avLst/>
          </a:prstGeom>
          <a:ln>
            <a:noFill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53" y="1557603"/>
            <a:ext cx="1653683" cy="2353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7615" y="852944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Атлас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0615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ЛИНИЯ УМК «Всеобщая история. </a:t>
            </a:r>
            <a:r>
              <a:rPr lang="ru-RU" dirty="0" err="1" smtClean="0"/>
              <a:t>Вигасин</a:t>
            </a:r>
            <a:r>
              <a:rPr lang="ru-RU" dirty="0" smtClean="0"/>
              <a:t> А.А. (5-9)»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2836" t="1774" r="3605" b="86"/>
          <a:stretch/>
        </p:blipFill>
        <p:spPr>
          <a:xfrm>
            <a:off x="2596955" y="1735667"/>
            <a:ext cx="3378200" cy="4952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42389" t="20742" r="29988" b="10954"/>
          <a:stretch/>
        </p:blipFill>
        <p:spPr>
          <a:xfrm>
            <a:off x="5975155" y="1735667"/>
            <a:ext cx="3428322" cy="494453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7615" y="852944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Атласы</a:t>
            </a:r>
            <a:endParaRPr lang="ru-RU" dirty="0"/>
          </a:p>
        </p:txBody>
      </p:sp>
      <p:pic>
        <p:nvPicPr>
          <p:cNvPr id="5122" name="Picture 2" descr="Изображение Всеобщая история. История Нового времени. Атлас. 7 класс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69" y="1553028"/>
            <a:ext cx="1766570" cy="252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5912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ЛИНИЯ УМК «Всеобщая история. </a:t>
            </a:r>
            <a:r>
              <a:rPr lang="ru-RU" dirty="0" err="1" smtClean="0"/>
              <a:t>Вигасин</a:t>
            </a:r>
            <a:r>
              <a:rPr lang="ru-RU" dirty="0" smtClean="0"/>
              <a:t> А.А. (5-9)»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57615" y="852944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Контурные карты</a:t>
            </a:r>
            <a:endParaRPr lang="ru-RU" dirty="0"/>
          </a:p>
        </p:txBody>
      </p:sp>
      <p:pic>
        <p:nvPicPr>
          <p:cNvPr id="3076" name="Picture 4" descr="Изображение Всеобщая история. История Древнего мира.  Контурные карты. 5 класс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48" y="1545771"/>
            <a:ext cx="1753871" cy="2505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2468880" y="1529539"/>
            <a:ext cx="7134400" cy="5010754"/>
            <a:chOff x="2468880" y="1612669"/>
            <a:chExt cx="7134400" cy="5010754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3"/>
            <a:srcRect l="34305" t="16814" r="37807" b="13888"/>
            <a:stretch/>
          </p:blipFill>
          <p:spPr>
            <a:xfrm>
              <a:off x="2468880" y="1612669"/>
              <a:ext cx="3584940" cy="5010754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4"/>
            <a:srcRect l="34479" t="16633" r="37837" b="13888"/>
            <a:stretch/>
          </p:blipFill>
          <p:spPr>
            <a:xfrm>
              <a:off x="6053820" y="1612669"/>
              <a:ext cx="3549460" cy="50107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7996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4</TotalTime>
  <Words>256</Words>
  <Application>Microsoft Office PowerPoint</Application>
  <PresentationFormat>Широкоэкранный</PresentationFormat>
  <Paragraphs>31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Open Sans Light</vt:lpstr>
      <vt:lpstr>Тема Office</vt:lpstr>
      <vt:lpstr>Слайд think-cell</vt:lpstr>
      <vt:lpstr>НОВИНКИ ДЕКАБРЯ 2021 АТЛАСЫ И КОНТУРНЫЕ КАРТ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Копьева Наталья Владимировна</cp:lastModifiedBy>
  <cp:revision>31</cp:revision>
  <dcterms:created xsi:type="dcterms:W3CDTF">2021-12-06T12:45:21Z</dcterms:created>
  <dcterms:modified xsi:type="dcterms:W3CDTF">2021-12-10T12:27:25Z</dcterms:modified>
</cp:coreProperties>
</file>